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Default Extension="png" ContentType="image/png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62" r:id="rId2"/>
    <p:sldId id="322" r:id="rId3"/>
    <p:sldId id="323" r:id="rId4"/>
    <p:sldId id="361" r:id="rId5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74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  <p:sp>
        <p:nvSpPr>
          <p:cNvPr id="30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Integ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gration by Par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ion by Parts                (of indefinite integrals)</a:t>
            </a: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ite Integration by Par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Repeated Application of Integration by Part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sing Integral Table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tegrating by parts twi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61"/>
            <a:ext cx="7041633" cy="48494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95645"/>
            <a:ext cx="7072762" cy="25079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tegrating by parts twi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49"/>
            <a:ext cx="6592894" cy="976205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427734"/>
            <a:ext cx="6192883" cy="976205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548647"/>
            <a:ext cx="7009874" cy="13993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3,967"/>
  <p:tag name="ORIGINALWIDTH" val="4377,203"/>
  <p:tag name="LATEXADDIN" val="\documentclass{article}\pagestyle{empty}&#10;\usepackage{amsmath}&#10;\usepackage{amsfonts}&#10;\usepackage{amssymb}&#10;\begin{document}&#10;\begin{minipage}{12.4 cm}&#10;{\sffamily{&#10;Sometimes integration by parts leads to a new integral that also must be integrated&#10;by parts. This situation is illustrated in the next example.&#10;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8,83"/>
  <p:tag name="ORIGINALWIDTH" val="4384,702"/>
  <p:tag name="LATEXADDIN" val="\documentclass{article}\pagestyle{empty}&#10;\usepackage{amsmath}&#10;\usepackage{amsfonts}&#10;\usepackage{amssymb}&#10;\begin{document}&#10;\begin{minipage}{12.4 cm}&#10;{\sffamily{&#10;{\bf{Example:}}&#10;Find&#10;$$&#10;\int \, x^2 \, {\rm{e}}^{2x} \, \textrm{d} x \, .&#10;$$&#10;&#10;{\bf{Solution:}}\\[1mm]&#10;Since the factor ${\rm{e}}^{2x}$ is easy to integrate and $x^2$ is simplified by differentiation, we choose&#10;$$&#10;\begin{array}{r c l c r c l}&#10;u &amp; = &amp; x^2 &amp; \qquad &amp; \textrm{d} v &amp; = &amp; {\rm{e}}^{2x} \, \textrm{d} x \\[4mm]&#10;\textrm{d} u &amp; = &amp; 2x \, \textrm{d}x &amp; &amp; v &amp; = &amp; \tfrac{1}{2} {\rm{e}}^{2x}&#10;\end{array}&#10;$$&#10;}}&#10;\end{minipage}&#10;\end{document}"/>
  <p:tag name="IGUANATEXSIZE" val="20"/>
  <p:tag name="IGUANATEXCURSOR" val="2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4,1845"/>
  <p:tag name="ORIGINALWIDTH" val="4078,74"/>
  <p:tag name="LATEXADDIN" val="\documentclass{article}\pagestyle{empty}&#10;\usepackage{amsmath}&#10;\usepackage{amsfonts}&#10;\usepackage{amssymb}&#10;\begin{document}&#10;\begin{minipage}{12.4 cm}&#10;{\sffamily{&#10;Integrating by parts, we get&#10;$$&#10;\int \, x^2 \cdot {\rm{e}}^{2x} \, \textrm{d} x \, \, = \, \,&#10;x^2 \cdot \tfrac{1}{2} {\rm{e}}^{2x} \, - \, \int \, \tfrac{1}{2} {\rm{e}}^{2x} \cdot 2x \, \textrm{d} x \, \, = \, \,&#10;\tfrac{1}{2} x^2 {\rm{e}}^{2x} \, - \, \int \, x {\rm{e}}^{2x} \, \textrm{d} x&#10;$$&#10;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4,1845"/>
  <p:tag name="ORIGINALWIDTH" val="3831,271"/>
  <p:tag name="LATEXADDIN" val="\documentclass{article}\pagestyle{empty}&#10;\usepackage{amsmath}&#10;\usepackage{amsfonts}&#10;\usepackage{amssymb}&#10;\begin{document}&#10;\begin{minipage}{12.4 cm}&#10;{\sffamily{&#10;The integral that remains can also be obtained using integration by parts:&#10;$$&#10;\int \, x {\rm{e}}^{2x} \, \textrm{d} x \, \, = \, \, \tfrac{1}{2}\left( x - \tfrac{1}{2} \right) {\rm{e}}^{2x} \, + \, C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1,4061"/>
  <p:tag name="ORIGINALWIDTH" val="4336,708"/>
  <p:tag name="LATEXADDIN" val="\documentclass{article}\pagestyle{empty}&#10;\usepackage{amsmath}&#10;\usepackage{amsfonts}&#10;\usepackage{amssymb}&#10;\begin{document}&#10;\begin{minipage}{12.4 cm}&#10;{\sffamily{&#10;Thus,&#10;\begin{eqnarray*}&#10;\int \, x^2 \cdot {\rm{e}}^{2x} \, \textrm{d} x &amp; = &amp; \tfrac{1}{2} x^2 {\rm{e}}^{2x} \, - \, \int \, x {\rm{e}}^{2x} \, \textrm{d} x \\[1mm]&#10;&amp; = &amp;&#10;\tfrac{1}{2} x^2 {\rm{e}}^{2x} \, - \, \tfrac{1}{2}\left( x - \tfrac{1}{2} \right) {\rm{e}}^{2x} \, + \, C&#10;\, \, = \, \,&#10;\tfrac{1}{4} \left( 2x^2 - 2x + 1 \right) {\rm{e}}^{2x} \, + \, C \, .&#10;\end{eqnarray*}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</Words>
  <Application>Microsoft Office PowerPoint</Application>
  <PresentationFormat>Bildschirmpräsentation (16:9)</PresentationFormat>
  <Paragraphs>12</Paragraphs>
  <Slides>4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5" baseType="lpstr">
      <vt:lpstr>Larissa-Design</vt:lpstr>
      <vt:lpstr>Calculus I for MGMT – Integration Integration by Parts</vt:lpstr>
      <vt:lpstr>Example: Integrating by parts twice</vt:lpstr>
      <vt:lpstr>Example: Integrating by parts twic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0</cp:revision>
  <dcterms:created xsi:type="dcterms:W3CDTF">2020-04-04T18:50:50Z</dcterms:created>
  <dcterms:modified xsi:type="dcterms:W3CDTF">2023-02-20T20:42:49Z</dcterms:modified>
</cp:coreProperties>
</file>